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64"/>
    <p:restoredTop sz="94680"/>
  </p:normalViewPr>
  <p:slideViewPr>
    <p:cSldViewPr snapToGrid="0">
      <p:cViewPr varScale="1">
        <p:scale>
          <a:sx n="70" d="100"/>
          <a:sy n="70" d="100"/>
        </p:scale>
        <p:origin x="820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9/6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9/6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660134" y="2564131"/>
            <a:ext cx="6300215" cy="914353"/>
          </a:xfrm>
          <a:solidFill>
            <a:srgbClr val="92D050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sz="1600" b="1" dirty="0"/>
              <a:t>Situation</a:t>
            </a:r>
          </a:p>
          <a:p>
            <a:r>
              <a:rPr sz="1600" dirty="0"/>
              <a:t>Customer </a:t>
            </a:r>
            <a:r>
              <a:rPr lang="en-US" sz="1600" dirty="0"/>
              <a:t>churn</a:t>
            </a:r>
            <a:r>
              <a:rPr sz="1600" dirty="0"/>
              <a:t> has been rising, with the client suspecting price sensitivity as a key factor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5660133" y="600451"/>
            <a:ext cx="6300216" cy="1231106"/>
          </a:xfrm>
          <a:prstGeom prst="rect">
            <a:avLst/>
          </a:prstGeom>
          <a:solidFill>
            <a:srgbClr val="92D050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/>
            <a:r>
              <a:rPr sz="1600" b="1" dirty="0"/>
              <a:t>Recommended Solution</a:t>
            </a:r>
          </a:p>
          <a:p>
            <a:endParaRPr sz="1600" dirty="0"/>
          </a:p>
          <a:p>
            <a:r>
              <a:rPr sz="1600" dirty="0"/>
              <a:t>We conducted exploratory data analysis, engineered predictive features, and trained a Random Forest model (~85% accuracy). The model identifies high-risk customers based on price changes, tenure, and consumption.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5660135" y="3940514"/>
            <a:ext cx="6300215" cy="984885"/>
          </a:xfrm>
          <a:prstGeom prst="rect">
            <a:avLst/>
          </a:prstGeom>
          <a:solidFill>
            <a:srgbClr val="92D050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/>
            <a:r>
              <a:rPr sz="1600" b="1" dirty="0"/>
              <a:t>Complication</a:t>
            </a:r>
          </a:p>
          <a:p>
            <a:endParaRPr sz="1600" dirty="0"/>
          </a:p>
          <a:p>
            <a:r>
              <a:rPr sz="1600" dirty="0"/>
              <a:t>Without intervention, price-sensitive customers may continue to churn, threatening revenue and customer base stability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5660135" y="5578387"/>
            <a:ext cx="6300214" cy="984885"/>
          </a:xfrm>
          <a:prstGeom prst="rect">
            <a:avLst/>
          </a:prstGeom>
          <a:solidFill>
            <a:srgbClr val="92D050"/>
          </a:soli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/>
            <a:r>
              <a:rPr sz="1600" b="1" dirty="0"/>
              <a:t>Question</a:t>
            </a:r>
          </a:p>
          <a:p>
            <a:endParaRPr sz="1600" dirty="0"/>
          </a:p>
          <a:p>
            <a:r>
              <a:rPr sz="1600" dirty="0"/>
              <a:t>How can we use these insights to design targeted retention strategies (e.g., loyalty programs, tailored pricing) to reduce churn and protect margin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361B8D-C372-5B32-E711-9FFBB4F44BBF}"/>
              </a:ext>
            </a:extLst>
          </p:cNvPr>
          <p:cNvSpPr/>
          <p:nvPr/>
        </p:nvSpPr>
        <p:spPr>
          <a:xfrm>
            <a:off x="5660133" y="2573185"/>
            <a:ext cx="6300213" cy="252311"/>
          </a:xfrm>
          <a:prstGeom prst="rect">
            <a:avLst/>
          </a:prstGeom>
          <a:solidFill>
            <a:srgbClr val="4F81BD"/>
          </a:solidFill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400" b="1">
                <a:solidFill>
                  <a:srgbClr val="FFFFFF"/>
                </a:solidFill>
              </a:rPr>
              <a:t>Situ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A9A320-B615-EC46-D667-31A77FCD2919}"/>
              </a:ext>
            </a:extLst>
          </p:cNvPr>
          <p:cNvSpPr/>
          <p:nvPr/>
        </p:nvSpPr>
        <p:spPr>
          <a:xfrm>
            <a:off x="5660131" y="600451"/>
            <a:ext cx="6300213" cy="252311"/>
          </a:xfrm>
          <a:prstGeom prst="rect">
            <a:avLst/>
          </a:prstGeom>
          <a:solidFill>
            <a:srgbClr val="9BBB59"/>
          </a:solidFill>
          <a:ln>
            <a:solidFill>
              <a:srgbClr val="9BBB5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400" b="1">
                <a:solidFill>
                  <a:srgbClr val="FFFFFF"/>
                </a:solidFill>
              </a:rPr>
              <a:t>Recommended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1E61AC-D7B0-A182-58F0-BB71F8644244}"/>
              </a:ext>
            </a:extLst>
          </p:cNvPr>
          <p:cNvSpPr/>
          <p:nvPr/>
        </p:nvSpPr>
        <p:spPr>
          <a:xfrm>
            <a:off x="5660131" y="3942599"/>
            <a:ext cx="6300213" cy="252311"/>
          </a:xfrm>
          <a:prstGeom prst="rect">
            <a:avLst/>
          </a:prstGeom>
          <a:solidFill>
            <a:srgbClr val="C0504D"/>
          </a:solidFill>
          <a:ln>
            <a:solidFill>
              <a:srgbClr val="C050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400" b="1">
                <a:solidFill>
                  <a:srgbClr val="FFFFFF"/>
                </a:solidFill>
              </a:rPr>
              <a:t>Compl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697610-ECA9-6400-73F8-ABA9146F23EB}"/>
              </a:ext>
            </a:extLst>
          </p:cNvPr>
          <p:cNvSpPr/>
          <p:nvPr/>
        </p:nvSpPr>
        <p:spPr>
          <a:xfrm>
            <a:off x="5660131" y="5578387"/>
            <a:ext cx="6300213" cy="252311"/>
          </a:xfrm>
          <a:prstGeom prst="rect">
            <a:avLst/>
          </a:prstGeom>
          <a:solidFill>
            <a:srgbClr val="8064A2"/>
          </a:solidFill>
          <a:ln>
            <a:solidFill>
              <a:srgbClr val="8064A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400" b="1">
                <a:solidFill>
                  <a:srgbClr val="FFFFFF"/>
                </a:solidFill>
              </a:rPr>
              <a:t>Question</a:t>
            </a: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</TotalTime>
  <Words>115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Sandeep Shukla</cp:lastModifiedBy>
  <cp:revision>4</cp:revision>
  <cp:lastPrinted>2016-04-06T18:59:25Z</cp:lastPrinted>
  <dcterms:created xsi:type="dcterms:W3CDTF">2016-11-04T11:46:04Z</dcterms:created>
  <dcterms:modified xsi:type="dcterms:W3CDTF">2025-09-06T10:36:1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